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4" autoAdjust="0"/>
    <p:restoredTop sz="93447" autoAdjust="0"/>
  </p:normalViewPr>
  <p:slideViewPr>
    <p:cSldViewPr snapToGrid="0">
      <p:cViewPr varScale="1">
        <p:scale>
          <a:sx n="86" d="100"/>
          <a:sy n="86" d="100"/>
        </p:scale>
        <p:origin x="248" y="1008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antra Ja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Process Efficienc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Foster Agile Cul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Track Metrics: Use Agile metrics (e.g., velocity, burn-down charts) to monitor progress and performance.</a:t>
            </a:r>
          </a:p>
          <a:p>
            <a:pPr marL="0" indent="0">
              <a:buNone/>
            </a:pPr>
            <a:r>
              <a:rPr lang="en-US" sz="2000" dirty="0"/>
              <a:t>How I feel Shell benefits from this learning 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Leverage Technolog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Scale Agile Practice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Improved Collabor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4A1A6B-932D-A952-F69A-13726517D5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8" y="1897169"/>
            <a:ext cx="5269283" cy="324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</a:t>
            </a:r>
          </a:p>
          <a:p>
            <a:pPr marL="0" indent="0">
              <a:buNone/>
            </a:pPr>
            <a:r>
              <a:rPr lang="en-US" sz="2000" i="1" dirty="0"/>
              <a:t>1.Accepting new culture</a:t>
            </a:r>
          </a:p>
          <a:p>
            <a:pPr marL="0" indent="0">
              <a:buNone/>
            </a:pPr>
            <a:r>
              <a:rPr lang="en-US" sz="2000" i="1" dirty="0"/>
              <a:t>2. Resistance to Change</a:t>
            </a:r>
          </a:p>
          <a:p>
            <a:pPr marL="0" indent="0">
              <a:buNone/>
            </a:pPr>
            <a:r>
              <a:rPr lang="en-US" sz="2000" i="1" dirty="0"/>
              <a:t>3. Fear of Judgment</a:t>
            </a:r>
          </a:p>
          <a:p>
            <a:pPr marL="0" indent="0">
              <a:buNone/>
            </a:pPr>
            <a:r>
              <a:rPr lang="en-US" sz="2000" dirty="0"/>
              <a:t>Solution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Use interactive techniques such as role-playing, group discussions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Gamification: Introduce gamified elements such as quizz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1A32747-BEC7-879A-5945-4295A01E54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1409" y="1860993"/>
            <a:ext cx="2292886" cy="40762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84C4A0-0087-B077-0FB7-187573875C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91866" y="1941742"/>
            <a:ext cx="3531962" cy="300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Applying Theory to Practi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Cultural Differences</a:t>
            </a:r>
          </a:p>
          <a:p>
            <a:pPr marL="0" indent="0">
              <a:buNone/>
            </a:pPr>
            <a:r>
              <a:rPr lang="en-US" sz="2000" dirty="0"/>
              <a:t>Solution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Role-Playing: Conduct role-playing exercises where participants simulate stakeholder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Templates and Tools: Provide templates for mapping strategies to help us apply what we have learned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7827883-AB9B-6DF2-0FDB-64B2742BBD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1612" y="1893710"/>
            <a:ext cx="5209080" cy="404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Applying Theory to Practice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Adapting to New Tools and Techniques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Balancing Agile with Organizational Structure</a:t>
            </a:r>
          </a:p>
          <a:p>
            <a:pPr marL="0" indent="0">
              <a:buNone/>
            </a:pPr>
            <a:r>
              <a:rPr lang="en-US" sz="2000" dirty="0"/>
              <a:t>Solution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Peer Learning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Simula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Regular Review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18CDB57-3B7A-45FB-208C-C91AE55DB9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87213"/>
            <a:ext cx="5244112" cy="386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toring and Coaching: Provide ongoing mentoring and coaching to support the practical implementation of Agile practices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ual Aids: Use Agile boards, charts, and visual models to illustrate key principles and practices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paration and Planning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ess Needs: Identify participant challenges and skill levels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elop Materials: Create training resources, including visual aids and practical exercises.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de Account on Azure Agile and implemented Epics, Features and Tasks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Ice Breakers: Started with fun ice breakers that helped us to get to know each other and feel more comfortable.</a:t>
            </a:r>
          </a:p>
          <a:p>
            <a:r>
              <a:rPr lang="en-US" sz="2000" dirty="0"/>
              <a:t>Dance of colleagues was quite funn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649C38-755B-8CF8-AA7A-5DE0385C5A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963817"/>
            <a:ext cx="5216578" cy="395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b="1" dirty="0"/>
              <a:t>Importance of topics of upcoming week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Burnup Chart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Burndown Chart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Kanban 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Development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Q/A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Staging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 phrase that represents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your motto in lif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/>
              <a:t>“</a:t>
            </a:r>
            <a:r>
              <a:rPr lang="en-US" sz="3200" dirty="0">
                <a:latin typeface="Elephant Pro" pitchFamily="2" charset="0"/>
                <a:cs typeface="Phosphate Inline" panose="02000506050000020004" pitchFamily="2" charset="77"/>
              </a:rPr>
              <a:t>Dream Big,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>
                <a:latin typeface="Elephant Pro" pitchFamily="2" charset="0"/>
                <a:cs typeface="Phosphate Inline" panose="02000506050000020004" pitchFamily="2" charset="77"/>
              </a:rPr>
              <a:t>Work Hard,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>
                <a:latin typeface="Elephant Pro" pitchFamily="2" charset="0"/>
                <a:cs typeface="Phosphate Inline" panose="02000506050000020004" pitchFamily="2" charset="77"/>
              </a:rPr>
              <a:t>Stay Humble</a:t>
            </a:r>
            <a:r>
              <a:rPr lang="en-US" sz="3200" dirty="0"/>
              <a:t>”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8" name="Picture 4" descr="Bald Eagle | San Diego Zoo Animals &amp; Plants">
            <a:extLst>
              <a:ext uri="{FF2B5EF4-FFF2-40B4-BE49-F238E27FC236}">
                <a16:creationId xmlns:a16="http://schemas.microsoft.com/office/drawing/2014/main" id="{8799C17D-0976-AF42-76B4-AFDC8AC91E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099" y="1831739"/>
            <a:ext cx="5350706" cy="40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sz="2000" dirty="0"/>
              <a:t>Details of the learning:</a:t>
            </a:r>
          </a:p>
          <a:p>
            <a:pPr algn="just"/>
            <a:r>
              <a:rPr lang="en-US" sz="2000" b="1" dirty="0"/>
              <a:t>Emotional intelligence: </a:t>
            </a:r>
            <a:r>
              <a:rPr lang="en-US" sz="2000" dirty="0"/>
              <a:t>It refers to the ability to recognize, understand, manage, and utilize emotions effectively in oneself and in interactions with others.</a:t>
            </a:r>
          </a:p>
          <a:p>
            <a:pPr algn="just"/>
            <a:r>
              <a:rPr lang="en-US" sz="2000" b="1" dirty="0"/>
              <a:t>Active Listening: </a:t>
            </a:r>
            <a:r>
              <a:rPr lang="en-US" sz="2000" dirty="0"/>
              <a:t>Techniques for truly understanding and responding to the emotions and perspectives of others.</a:t>
            </a:r>
          </a:p>
          <a:p>
            <a:pPr algn="just"/>
            <a:r>
              <a:rPr lang="en-US" sz="2000" b="1" dirty="0"/>
              <a:t>Fixed Mindset: </a:t>
            </a:r>
            <a:r>
              <a:rPr lang="en-US" sz="2000" dirty="0"/>
              <a:t>Pessimism</a:t>
            </a:r>
          </a:p>
          <a:p>
            <a:pPr algn="just"/>
            <a:r>
              <a:rPr lang="en-US" sz="2000" b="1" dirty="0"/>
              <a:t>Growth Mindset: </a:t>
            </a:r>
            <a:r>
              <a:rPr lang="en-US" sz="2000" dirty="0"/>
              <a:t>Optimism</a:t>
            </a:r>
          </a:p>
          <a:p>
            <a:pPr algn="just"/>
            <a:r>
              <a:rPr lang="en-US" sz="2000" b="1" dirty="0"/>
              <a:t>E-Mail Writing: P</a:t>
            </a:r>
            <a:r>
              <a:rPr lang="en-US" sz="2000" dirty="0"/>
              <a:t>lan </a:t>
            </a:r>
            <a:r>
              <a:rPr lang="en-US" sz="2000" b="1" dirty="0"/>
              <a:t>O</a:t>
            </a:r>
            <a:r>
              <a:rPr lang="en-US" sz="2000" dirty="0"/>
              <a:t>rganize </a:t>
            </a:r>
            <a:r>
              <a:rPr lang="en-US" sz="2000" b="1" dirty="0"/>
              <a:t>W</a:t>
            </a:r>
            <a:r>
              <a:rPr lang="en-US" sz="2000" dirty="0"/>
              <a:t>rite </a:t>
            </a:r>
            <a:r>
              <a:rPr lang="en-US" sz="2000" b="1" dirty="0"/>
              <a:t>E</a:t>
            </a:r>
            <a:r>
              <a:rPr lang="en-US" sz="2000" dirty="0"/>
              <a:t>dit </a:t>
            </a:r>
            <a:r>
              <a:rPr lang="en-US" sz="2000" b="1" dirty="0"/>
              <a:t>R</a:t>
            </a:r>
            <a:r>
              <a:rPr lang="en-US" sz="2000" dirty="0"/>
              <a:t>eview (</a:t>
            </a:r>
            <a:r>
              <a:rPr lang="en-US" sz="2000" b="1" dirty="0"/>
              <a:t>POWER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white board with sticky notes&#10;&#10;Description automatically generated">
            <a:extLst>
              <a:ext uri="{FF2B5EF4-FFF2-40B4-BE49-F238E27FC236}">
                <a16:creationId xmlns:a16="http://schemas.microsoft.com/office/drawing/2014/main" id="{88378854-B0FF-651F-5D02-216D1AEAD0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60993"/>
            <a:ext cx="5350707" cy="407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algn="just"/>
            <a:r>
              <a:rPr lang="en-US" sz="2000" dirty="0"/>
              <a:t>Stakeholder Management.</a:t>
            </a:r>
          </a:p>
          <a:p>
            <a:pPr algn="just"/>
            <a:r>
              <a:rPr lang="en-US" sz="2000" dirty="0"/>
              <a:t>Types of person to to form a successful team.</a:t>
            </a:r>
          </a:p>
          <a:p>
            <a:pPr algn="just"/>
            <a:r>
              <a:rPr lang="en-US" sz="2000" dirty="0"/>
              <a:t>Stakeholder Management can be implemented in the Energy sector in Community engagement, Regulatory compliance, Strategic partnership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EC5A8D8-EEB2-0A73-E4E3-330D526E60F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4381"/>
          <a:stretch/>
        </p:blipFill>
        <p:spPr>
          <a:xfrm>
            <a:off x="6413595" y="1860993"/>
            <a:ext cx="5326541" cy="407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Requirement Analysis, Elicitation, Management, Traceability. </a:t>
            </a:r>
          </a:p>
          <a:p>
            <a:r>
              <a:rPr lang="en-US" sz="2000" dirty="0"/>
              <a:t>Scrum has high velocity, adaptability and is customer centric.</a:t>
            </a:r>
          </a:p>
          <a:p>
            <a:r>
              <a:rPr lang="en-US" sz="2000" dirty="0"/>
              <a:t>Improved Risk Management, Better Stakeholder Engagement, Improved Safety and Complianc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2" name="Picture 4" descr="Paper Airplane Flight Challenge">
            <a:extLst>
              <a:ext uri="{FF2B5EF4-FFF2-40B4-BE49-F238E27FC236}">
                <a16:creationId xmlns:a16="http://schemas.microsoft.com/office/drawing/2014/main" id="{175A17AD-EFBD-A40D-FA41-6388AE048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860994"/>
            <a:ext cx="3101636" cy="40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A71B5AE-CD3B-B4A3-970E-BE3C317C31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02435" y="1860992"/>
            <a:ext cx="2200319" cy="4076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Integrate Training into Daily Work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Promote Continuous Learning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Create a Culture of Soft Skill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?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i="1" dirty="0"/>
              <a:t>Enhanced Teamwork and Collaboration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i="1" dirty="0"/>
              <a:t>Better Leadership and Management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i="1" dirty="0"/>
              <a:t>Improved Conflict Management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i="1" dirty="0"/>
              <a:t>Strengthened Organizational Culture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5D40A6-57BF-E9CB-E142-40880C4705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7026689" y="1235102"/>
            <a:ext cx="4076240" cy="5328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Monitor and Evaluate Effectivenes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Foster a Stakeholder Management Culture</a:t>
            </a:r>
          </a:p>
          <a:p>
            <a:pPr marL="0" indent="0">
              <a:buNone/>
            </a:pPr>
            <a:endParaRPr lang="en-US" sz="2000" i="1" dirty="0"/>
          </a:p>
          <a:p>
            <a:pPr marL="0" indent="0">
              <a:buNone/>
            </a:pPr>
            <a:r>
              <a:rPr lang="en-US" sz="2000" dirty="0"/>
              <a:t>How I feel Shell benefits from this learning 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Better Decision-Making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Enhanced Compliance and Regulatory Adheren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Competitive Advantage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AC68FD1-37D5-F3E1-6968-592CA8625F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7087627" y="1174164"/>
            <a:ext cx="3949376" cy="53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36</TotalTime>
  <Words>733</Words>
  <Application>Microsoft Macintosh PowerPoint</Application>
  <PresentationFormat>Widescreen</PresentationFormat>
  <Paragraphs>12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Elephant Pro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MANTRA JAIN</cp:lastModifiedBy>
  <cp:revision>504</cp:revision>
  <dcterms:created xsi:type="dcterms:W3CDTF">2022-01-18T12:35:56Z</dcterms:created>
  <dcterms:modified xsi:type="dcterms:W3CDTF">2024-08-30T16:5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